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</p:sldMasterIdLst>
  <p:notesMasterIdLst>
    <p:notesMasterId r:id="rId23"/>
  </p:notesMasterIdLst>
  <p:handoutMasterIdLst>
    <p:handoutMasterId r:id="rId24"/>
  </p:handoutMasterIdLst>
  <p:sldIdLst>
    <p:sldId id="817" r:id="rId2"/>
    <p:sldId id="781" r:id="rId3"/>
    <p:sldId id="794" r:id="rId4"/>
    <p:sldId id="793" r:id="rId5"/>
    <p:sldId id="795" r:id="rId6"/>
    <p:sldId id="796" r:id="rId7"/>
    <p:sldId id="797" r:id="rId8"/>
    <p:sldId id="800" r:id="rId9"/>
    <p:sldId id="798" r:id="rId10"/>
    <p:sldId id="801" r:id="rId11"/>
    <p:sldId id="813" r:id="rId12"/>
    <p:sldId id="803" r:id="rId13"/>
    <p:sldId id="799" r:id="rId14"/>
    <p:sldId id="809" r:id="rId15"/>
    <p:sldId id="804" r:id="rId16"/>
    <p:sldId id="805" r:id="rId17"/>
    <p:sldId id="812" r:id="rId18"/>
    <p:sldId id="806" r:id="rId19"/>
    <p:sldId id="811" r:id="rId20"/>
    <p:sldId id="807" r:id="rId21"/>
    <p:sldId id="808" r:id="rId22"/>
  </p:sldIdLst>
  <p:sldSz cx="9906000" cy="6858000" type="A4"/>
  <p:notesSz cx="10234613" cy="7102475"/>
  <p:custDataLst>
    <p:tags r:id="rId2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11">
          <p15:clr>
            <a:srgbClr val="A4A3A4"/>
          </p15:clr>
        </p15:guide>
        <p15:guide id="2" orient="horz" pos="1652">
          <p15:clr>
            <a:srgbClr val="A4A3A4"/>
          </p15:clr>
        </p15:guide>
        <p15:guide id="3" orient="horz" pos="668">
          <p15:clr>
            <a:srgbClr val="A4A3A4"/>
          </p15:clr>
        </p15:guide>
        <p15:guide id="4" pos="229">
          <p15:clr>
            <a:srgbClr val="A4A3A4"/>
          </p15:clr>
        </p15:guide>
        <p15:guide id="5" pos="5771">
          <p15:clr>
            <a:srgbClr val="A4A3A4"/>
          </p15:clr>
        </p15:guide>
        <p15:guide id="6" pos="60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237">
          <p15:clr>
            <a:srgbClr val="A4A3A4"/>
          </p15:clr>
        </p15:guide>
        <p15:guide id="2" pos="322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489"/>
    <a:srgbClr val="C3CFE1"/>
    <a:srgbClr val="FF702D"/>
    <a:srgbClr val="DFE5EF"/>
    <a:srgbClr val="F2F7FC"/>
    <a:srgbClr val="E4EEF9"/>
    <a:srgbClr val="FA5500"/>
    <a:srgbClr val="7F7F7F"/>
    <a:srgbClr val="E43E0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0" autoAdjust="0"/>
    <p:restoredTop sz="91223" autoAdjust="0"/>
  </p:normalViewPr>
  <p:slideViewPr>
    <p:cSldViewPr snapToGrid="0">
      <p:cViewPr varScale="1">
        <p:scale>
          <a:sx n="111" d="100"/>
          <a:sy n="111" d="100"/>
        </p:scale>
        <p:origin x="432" y="114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3DFE3B6-570A-4C56-B47F-6CEFC886FDA8}" type="datetimeFigureOut">
              <a:rPr lang="ru-RU" smtClean="0"/>
              <a:pPr/>
              <a:t>25.04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57EC5638-3CB0-4A9F-B673-7ABAB7AA73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6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B710F3C-1901-43F5-BEDC-46566954B54D}" type="datetimeFigureOut">
              <a:rPr lang="ru-RU" smtClean="0"/>
              <a:pPr/>
              <a:t>25.04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135" y="3374012"/>
            <a:ext cx="8188348" cy="3195110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31758C84-B58E-494F-8CEF-25E53AC35C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04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8422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8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9914708" cy="6858000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64106" y="3429000"/>
            <a:ext cx="7786496" cy="927847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rmAutofit/>
          </a:bodyPr>
          <a:lstStyle>
            <a:lvl1pPr algn="ctr">
              <a:defRPr sz="3200" b="0">
                <a:solidFill>
                  <a:schemeClr val="bg1"/>
                </a:solidFill>
                <a:latin typeface="+mj-lt"/>
              </a:defRPr>
            </a:lvl1pPr>
          </a:lstStyle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7" y="0"/>
            <a:ext cx="7786496" cy="927847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2"/>
                </a:solidFill>
                <a:latin typeface="+mj-lt"/>
              </a:defRPr>
            </a:lvl1pPr>
          </a:lstStyle>
          <a:p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6913A26-161F-2540-8CF6-29F2799F6BA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261930" y="228973"/>
            <a:ext cx="1485900" cy="469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98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7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63188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920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2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9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6" r:id="rId3"/>
    <p:sldLayoutId id="214748407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0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3.jp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7" Type="http://schemas.openxmlformats.org/officeDocument/2006/relationships/image" Target="../media/image3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png"/><Relationship Id="rId4" Type="http://schemas.openxmlformats.org/officeDocument/2006/relationships/image" Target="../media/image33.emf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Сети ВЫСОКОГО НАПРЯЖЕНИЯ.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>Основы электробезопасност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sz="2400" i="1" dirty="0"/>
              <a:t>(информация для учеников школ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8417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4294967295"/>
          </p:nvPr>
        </p:nvSpPr>
        <p:spPr>
          <a:xfrm>
            <a:off x="5648292" y="2605725"/>
            <a:ext cx="3941379" cy="1163395"/>
          </a:xfrm>
          <a:prstGeom prst="rect">
            <a:avLst/>
          </a:prstGeom>
        </p:spPr>
        <p:txBody>
          <a:bodyPr/>
          <a:lstStyle/>
          <a:p>
            <a:pPr marL="4763"/>
            <a:r>
              <a:rPr lang="ru-RU" sz="1800" dirty="0" smtClean="0">
                <a:solidFill>
                  <a:srgbClr val="00448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льзя ловить рыбу рядом с линией электропередачи. </a:t>
            </a:r>
            <a:r>
              <a:rPr lang="ru-RU" sz="1800" dirty="0">
                <a:solidFill>
                  <a:srgbClr val="004489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Через удочку рыбака </a:t>
            </a:r>
            <a:r>
              <a:rPr lang="ru-RU" sz="1800" dirty="0" smtClean="0">
                <a:solidFill>
                  <a:srgbClr val="004489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убивает </a:t>
            </a:r>
            <a:r>
              <a:rPr lang="ru-RU" sz="1800" dirty="0">
                <a:solidFill>
                  <a:srgbClr val="004489"/>
                </a:solidFill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насмерть.</a:t>
            </a:r>
          </a:p>
          <a:p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283" y="1203428"/>
            <a:ext cx="5346289" cy="5368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448251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altLang="ru-RU" sz="23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6199" y="1301373"/>
            <a:ext cx="5197855" cy="527031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64821" y="2478766"/>
            <a:ext cx="3284082" cy="2249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8269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622688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212725" y="0"/>
            <a:ext cx="8624888" cy="92710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sz="23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950024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7958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032" y="624758"/>
            <a:ext cx="4634476" cy="5383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5055788" y="1512190"/>
            <a:ext cx="3610900" cy="36081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endParaRPr lang="ru-RU" altLang="zh-CN" sz="2000" b="1" dirty="0" smtClean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endParaRPr lang="ru-RU" altLang="zh-CN" sz="20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altLang="zh-CN" sz="20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О </a:t>
            </a:r>
            <a:r>
              <a:rPr lang="ru-RU" altLang="zh-CN" sz="20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езать на опоры высоковольтных линий </a:t>
            </a:r>
            <a:r>
              <a:rPr lang="ru-RU" altLang="zh-CN" sz="20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передачи!</a:t>
            </a:r>
          </a:p>
          <a:p>
            <a:pPr algn="just">
              <a:defRPr/>
            </a:pPr>
            <a:endParaRPr lang="ru-RU" altLang="zh-CN" sz="2000" dirty="0" smtClean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altLang="zh-CN" sz="20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 опасно влезать на крыши домов и строений, где по близости проходят электрические провода.</a:t>
            </a:r>
          </a:p>
          <a:p>
            <a:pPr algn="just">
              <a:defRPr/>
            </a:pPr>
            <a:endParaRPr lang="ru-RU" altLang="zh-CN" sz="20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altLang="zh-CN" sz="20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мертельно опасно делать на провода </a:t>
            </a:r>
            <a:r>
              <a:rPr lang="ru-RU" altLang="zh-CN" sz="2000" dirty="0" err="1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бросы</a:t>
            </a:r>
            <a:r>
              <a:rPr lang="ru-RU" altLang="zh-CN" sz="20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волоки и других предметов.</a:t>
            </a:r>
            <a:endParaRPr lang="ru-RU" altLang="zh-CN" sz="2000" b="1" dirty="0" smtClean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endParaRPr lang="ru-RU" altLang="zh-CN" sz="2000" b="1" dirty="0" smtClean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endParaRPr lang="ru-RU" altLang="zh-CN" sz="20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endParaRPr lang="ru-RU" altLang="zh-CN" sz="20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62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улице</a:t>
            </a:r>
            <a:endParaRPr lang="ru-RU" sz="2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985029" y="1841558"/>
            <a:ext cx="3021602" cy="128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r>
              <a:rPr lang="ru-RU" altLang="zh-CN" sz="18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О разводить костры под линиями </a:t>
            </a:r>
            <a:r>
              <a:rPr lang="ru-RU" altLang="zh-CN" sz="18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передачи</a:t>
            </a:r>
            <a:r>
              <a:rPr lang="ru-RU" altLang="zh-CN" sz="18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ru-RU" altLang="zh-CN" sz="18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675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6630" y="1176544"/>
            <a:ext cx="2741209" cy="2615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675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708" y="606006"/>
            <a:ext cx="3661321" cy="5686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3950427" y="4197565"/>
            <a:ext cx="3299667" cy="2124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r>
              <a:rPr lang="ru-RU" altLang="zh-CN" sz="18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ар током можно получить и в нескольких метрах от провода за свет шагового напряжения </a:t>
            </a:r>
            <a:endParaRPr lang="ru-RU" altLang="zh-CN" sz="18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05208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240928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7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 idx="4294967295"/>
          </p:nvPr>
        </p:nvSpPr>
        <p:spPr>
          <a:xfrm>
            <a:off x="212652" y="0"/>
            <a:ext cx="8625348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750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0"/>
            <a:ext cx="9010665" cy="927847"/>
          </a:xfrm>
          <a:prstGeom prst="rect">
            <a:avLst/>
          </a:prstGeom>
        </p:spPr>
        <p:txBody>
          <a:bodyPr>
            <a:normAutofit fontScale="90000"/>
          </a:bodyPr>
          <a:lstStyle/>
          <a:p>
            <a:pPr algn="ctr"/>
            <a:r>
              <a:rPr lang="ru-RU" sz="2400" dirty="0"/>
              <a:t>Для предупреждения людей об опасности на наружных частях электроустановок укрепляются </a:t>
            </a:r>
            <a:r>
              <a:rPr lang="ru-RU" sz="2400" dirty="0" smtClean="0"/>
              <a:t>следующие </a:t>
            </a:r>
            <a:r>
              <a:rPr lang="ru-RU" sz="2400" dirty="0"/>
              <a:t>предостерегающие </a:t>
            </a:r>
            <a:r>
              <a:rPr lang="ru-RU" sz="2400" dirty="0" smtClean="0"/>
              <a:t>плакаты</a:t>
            </a:r>
            <a:endParaRPr lang="ru-RU" sz="2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6" name="Picture 8" descr="eЗнак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324" y="1513434"/>
            <a:ext cx="3201988" cy="282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 descr="electro1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678" y="4849375"/>
            <a:ext cx="3314700" cy="165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327" y="1496822"/>
            <a:ext cx="3539338" cy="2843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62026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/>
              <a:t>Правила поведения по время </a:t>
            </a:r>
            <a:r>
              <a:rPr lang="ru-RU" altLang="ru-RU" sz="2300" b="1" dirty="0" smtClean="0"/>
              <a:t>грозы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7" name="Picture 2" descr="C:\Users\ceryabinad\Desktop\9y3Nm1dY5n (1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848" y="1259131"/>
            <a:ext cx="7987862" cy="5162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3143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altLang="ru-RU" sz="2300" b="1" dirty="0"/>
              <a:t>Электроприборы</a:t>
            </a:r>
            <a:r>
              <a:rPr lang="ru-RU" altLang="ru-RU" b="1" dirty="0"/>
              <a:t/>
            </a:r>
            <a:br>
              <a:rPr lang="ru-RU" altLang="ru-RU" b="1" dirty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5" name="Picture 2" descr="\\Mrsk-dfs\дсми\Обмен\Акция среди сотрудников_НЕ ДЕЛАЙ САМ! ОСТАНОВИ ДРУГА!\Презентационный материал для дошкольников\Холодильник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94" y="1373279"/>
            <a:ext cx="1457876" cy="2709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\\Mrsk-dfs\дсми\Обмен\Акция среди сотрудников_НЕ ДЕЛАЙ САМ! ОСТАНОВИ ДРУГА!\Презентационный материал для дошкольников\Плит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1677" y="1180152"/>
            <a:ext cx="1753781" cy="2671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C:\Users\chuvashova-NV\Desktop\b187f7ba-124e-11e4-83e5-d4ae52b8a5552-500x500.jpe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654" y="988213"/>
            <a:ext cx="2759346" cy="2759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\\Mrsk-dfs\дсми\Обмен\Акция среди сотрудников_НЕ ДЕЛАЙ САМ! ОСТАНОВИ ДРУГА!\Презентационный материал для дошкольников\Утюг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174" y="4569647"/>
            <a:ext cx="2016224" cy="1801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http://kulebaki.kupitseychas.ru/content/Mikrovolnovye_pechi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6238" y="4666190"/>
            <a:ext cx="2482736" cy="1608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0277" y="3747559"/>
            <a:ext cx="2781164" cy="2781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194150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/>
              <a:t>Правила поведения с электричеством в </a:t>
            </a:r>
            <a:r>
              <a:rPr lang="ru-RU" altLang="ru-RU" sz="2300" b="1" dirty="0" smtClean="0"/>
              <a:t>быту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TextBox 2"/>
          <p:cNvSpPr txBox="1">
            <a:spLocks noChangeArrowheads="1"/>
          </p:cNvSpPr>
          <p:nvPr/>
        </p:nvSpPr>
        <p:spPr bwMode="auto">
          <a:xfrm>
            <a:off x="116695" y="990477"/>
            <a:ext cx="6256602" cy="1243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FontTx/>
              <a:buNone/>
              <a:defRPr/>
            </a:pPr>
            <a:r>
              <a:rPr lang="ru-RU" sz="1700" b="1" baseline="0" dirty="0" smtClean="0">
                <a:solidFill>
                  <a:srgbClr val="003399"/>
                </a:solidFill>
                <a:latin typeface="+mj-lt"/>
              </a:rPr>
              <a:t> ОПАСНО играть с электрическими розетками!</a:t>
            </a:r>
          </a:p>
          <a:p>
            <a:pPr>
              <a:defRPr/>
            </a:pPr>
            <a:endParaRPr lang="ru-RU" sz="1700" b="1" baseline="0" dirty="0" smtClean="0">
              <a:solidFill>
                <a:srgbClr val="003399"/>
              </a:solidFill>
              <a:latin typeface="+mj-lt"/>
            </a:endParaRPr>
          </a:p>
          <a:p>
            <a:pPr>
              <a:buFontTx/>
              <a:buNone/>
              <a:defRPr/>
            </a:pPr>
            <a:r>
              <a:rPr lang="ru-RU" sz="1700" b="1" baseline="0" dirty="0" smtClean="0">
                <a:solidFill>
                  <a:srgbClr val="003399"/>
                </a:solidFill>
                <a:latin typeface="+mj-lt"/>
              </a:rPr>
              <a:t>ОПАСНО самостоятельно ремонтировать   электроприборы!</a:t>
            </a:r>
          </a:p>
        </p:txBody>
      </p:sp>
      <p:sp>
        <p:nvSpPr>
          <p:cNvPr id="7" name="Прямоугольник 2"/>
          <p:cNvSpPr>
            <a:spLocks noChangeArrowheads="1"/>
          </p:cNvSpPr>
          <p:nvPr/>
        </p:nvSpPr>
        <p:spPr bwMode="auto">
          <a:xfrm>
            <a:off x="2603042" y="4315345"/>
            <a:ext cx="3650613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 baseline="-25000">
                <a:solidFill>
                  <a:srgbClr val="003399"/>
                </a:solidFill>
                <a:latin typeface="Arial" charset="0"/>
              </a:defRPr>
            </a:lvl1pPr>
            <a:lvl2pPr marL="742950" indent="-285750" eaLnBrk="0" hangingPunct="0">
              <a:defRPr sz="1400" baseline="-25000">
                <a:solidFill>
                  <a:srgbClr val="003399"/>
                </a:solidFill>
                <a:latin typeface="Arial" charset="0"/>
              </a:defRPr>
            </a:lvl2pPr>
            <a:lvl3pPr marL="1143000" indent="-228600" eaLnBrk="0" hangingPunct="0">
              <a:defRPr sz="1400" baseline="-25000">
                <a:solidFill>
                  <a:srgbClr val="003399"/>
                </a:solidFill>
                <a:latin typeface="Arial" charset="0"/>
              </a:defRPr>
            </a:lvl3pPr>
            <a:lvl4pPr marL="1600200" indent="-228600" eaLnBrk="0" hangingPunct="0">
              <a:defRPr sz="1400" baseline="-25000">
                <a:solidFill>
                  <a:srgbClr val="003399"/>
                </a:solidFill>
                <a:latin typeface="Arial" charset="0"/>
              </a:defRPr>
            </a:lvl4pPr>
            <a:lvl5pPr marL="2057400" indent="-228600" eaLnBrk="0" hangingPunct="0">
              <a:defRPr sz="1400" baseline="-25000">
                <a:solidFill>
                  <a:srgbClr val="003399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aseline="-25000">
                <a:solidFill>
                  <a:srgbClr val="003399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aseline="-25000">
                <a:solidFill>
                  <a:srgbClr val="003399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aseline="-25000">
                <a:solidFill>
                  <a:srgbClr val="003399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1400" baseline="-25000">
                <a:solidFill>
                  <a:srgbClr val="003399"/>
                </a:solidFill>
                <a:latin typeface="Arial" charset="0"/>
              </a:defRPr>
            </a:lvl9pPr>
          </a:lstStyle>
          <a:p>
            <a:pPr eaLnBrk="1" hangingPunct="1"/>
            <a:endParaRPr lang="ru-RU" altLang="ru-RU" sz="1700" b="1" baseline="0" dirty="0">
              <a:latin typeface="+mn-lt"/>
            </a:endParaRPr>
          </a:p>
          <a:p>
            <a:pPr eaLnBrk="1" hangingPunct="1"/>
            <a:r>
              <a:rPr lang="ru-RU" altLang="ru-RU" sz="1700" b="1" baseline="0" dirty="0" smtClean="0">
                <a:latin typeface="+mn-lt"/>
              </a:rPr>
              <a:t>ОПАСНО </a:t>
            </a:r>
            <a:r>
              <a:rPr lang="ru-RU" altLang="ru-RU" sz="1700" b="1" baseline="0" dirty="0">
                <a:latin typeface="+mn-lt"/>
              </a:rPr>
              <a:t>прикасаться к электроприборам мокрыми </a:t>
            </a:r>
            <a:r>
              <a:rPr lang="ru-RU" altLang="ru-RU" sz="1700" b="1" baseline="0" dirty="0" smtClean="0">
                <a:latin typeface="+mn-lt"/>
              </a:rPr>
              <a:t>руками!</a:t>
            </a:r>
            <a:endParaRPr lang="ru-RU" altLang="ru-RU" sz="1700" b="1" baseline="0" dirty="0">
              <a:latin typeface="+mn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802688" y="2589255"/>
            <a:ext cx="2836989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700" b="1" dirty="0" smtClean="0">
                <a:solidFill>
                  <a:srgbClr val="003399"/>
                </a:solidFill>
              </a:rPr>
              <a:t> </a:t>
            </a:r>
            <a:r>
              <a:rPr lang="ru-RU" sz="1700" b="1" dirty="0">
                <a:solidFill>
                  <a:srgbClr val="003399"/>
                </a:solidFill>
              </a:rPr>
              <a:t>ОПАСНО открывать лестничные электрощиты, находящиеся в подъездах до­мов!</a:t>
            </a:r>
          </a:p>
        </p:txBody>
      </p:sp>
      <p:pic>
        <p:nvPicPr>
          <p:cNvPr id="9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21859" y="990477"/>
            <a:ext cx="2812995" cy="1670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50000">
                      <a:srgbClr val="66CCFF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003399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413911" y="1911297"/>
            <a:ext cx="3340613" cy="25671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50000">
                      <a:srgbClr val="66CCFF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003399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73247" y="3895047"/>
            <a:ext cx="2695873" cy="2502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50000">
                      <a:srgbClr val="66CCFF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003399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880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028251"/>
            <a:ext cx="2511972" cy="3604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561609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 smtClean="0"/>
              <a:t>Как пользоваться электроприборами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9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587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146" y="1006313"/>
            <a:ext cx="7906461" cy="5534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4045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14424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34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 idx="4294967295"/>
          </p:nvPr>
        </p:nvSpPr>
        <p:spPr>
          <a:xfrm>
            <a:off x="212652" y="0"/>
            <a:ext cx="8625348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>
                <a:cs typeface="Arial" charset="0"/>
              </a:rPr>
              <a:t>Как в наш дом приходит электричество</a:t>
            </a:r>
            <a:r>
              <a:rPr lang="ru-RU" altLang="ru-RU" sz="2300" b="1" dirty="0" smtClean="0">
                <a:cs typeface="Arial" charset="0"/>
              </a:rPr>
              <a:t>?</a:t>
            </a:r>
            <a:endParaRPr lang="ru-RU" sz="23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396" y="1175658"/>
            <a:ext cx="8621487" cy="259962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algn="ctr"/>
            <a:r>
              <a:rPr lang="ru-RU" altLang="ru-RU" sz="1400" dirty="0">
                <a:solidFill>
                  <a:schemeClr val="bg1"/>
                </a:solidFill>
                <a:cs typeface="Arial" charset="0"/>
              </a:rPr>
              <a:t>Как в наш дом приходит </a:t>
            </a:r>
            <a:r>
              <a:rPr lang="ru-RU" altLang="ru-RU" sz="1400" dirty="0" smtClean="0">
                <a:solidFill>
                  <a:schemeClr val="bg1"/>
                </a:solidFill>
                <a:cs typeface="Arial" charset="0"/>
              </a:rPr>
              <a:t>электричество</a:t>
            </a:r>
            <a:endParaRPr lang="ru-RU" altLang="ru-RU" sz="1400" dirty="0">
              <a:solidFill>
                <a:srgbClr val="003399"/>
              </a:solidFill>
              <a:cs typeface="Arial" charset="0"/>
            </a:endParaRPr>
          </a:p>
          <a:p>
            <a:pPr marL="4763"/>
            <a:endParaRPr lang="ru-RU" sz="1400" dirty="0" smtClean="0">
              <a:solidFill>
                <a:srgbClr val="FFFF00"/>
              </a:solidFill>
              <a:sym typeface="+mn-lt"/>
            </a:endParaRPr>
          </a:p>
        </p:txBody>
      </p:sp>
      <p:pic>
        <p:nvPicPr>
          <p:cNvPr id="10" name="Содержимое 5" descr="Электростанция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8" t="2592" r="1363" b="1489"/>
          <a:stretch>
            <a:fillRect/>
          </a:stretch>
        </p:blipFill>
        <p:spPr>
          <a:xfrm>
            <a:off x="1324973" y="1891261"/>
            <a:ext cx="6930506" cy="4453415"/>
          </a:xfrm>
          <a:prstGeom prst="rect">
            <a:avLst/>
          </a:prstGeom>
        </p:spPr>
      </p:pic>
      <p:sp>
        <p:nvSpPr>
          <p:cNvPr id="12" name="TextBox 2"/>
          <p:cNvSpPr txBox="1">
            <a:spLocks noChangeArrowheads="1"/>
          </p:cNvSpPr>
          <p:nvPr/>
        </p:nvSpPr>
        <p:spPr bwMode="auto">
          <a:xfrm>
            <a:off x="319547" y="463923"/>
            <a:ext cx="9270124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электростанциях  специальная машина (генератор) производит электричество.           </a:t>
            </a:r>
          </a:p>
          <a:p>
            <a:pPr algn="just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6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ераторы бывают разные. Бывают очень маленькие – их электроэнергии хватает только на освещение одной комнаты. Бывают генераторы – гиганты, которые дают электроэнергию </a:t>
            </a:r>
            <a:r>
              <a:rPr lang="ru-RU" altLang="ru-RU" sz="1600" b="1" baseline="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ольшому </a:t>
            </a:r>
            <a:r>
              <a:rPr lang="ru-RU" altLang="ru-RU" sz="16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роду. </a:t>
            </a:r>
          </a:p>
        </p:txBody>
      </p:sp>
    </p:spTree>
    <p:extLst>
      <p:ext uri="{BB962C8B-B14F-4D97-AF65-F5344CB8AC3E}">
        <p14:creationId xmlns:p14="http://schemas.microsoft.com/office/powerpoint/2010/main" val="41710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altLang="ru-RU" sz="2300" dirty="0" smtClean="0"/>
              <a:t>Энергетик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6" name="Picture 11" descr="\\Mrsk-dfs\дсми\Обмен\Акция среди сотрудников_НЕ ДЕЛАЙ САМ! ОСТАНОВИ ДРУГА!\Презентационный материал для дошкольников\IMG_375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837" y="1164567"/>
            <a:ext cx="3831076" cy="5353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2" descr="\\Mrsk-dfs\дсми\Обмен\Акция среди сотрудников_НЕ ДЕЛАЙ САМ! ОСТАНОВИ ДРУГА!\Картинки по электробезопасности для детишек\Каска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58524" y="1266935"/>
            <a:ext cx="2274888" cy="221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3" descr="\\Mrsk-dfs\дсми\Обмен\Акция среди сотрудников_НЕ ДЕЛАЙ САМ! ОСТАНОВИ ДРУГА!\Картинки по электробезопасности для детишек\Перчатки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615" y="2599395"/>
            <a:ext cx="2519362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5" descr="\\Mrsk-dfs\дсми\Обмен\Акция среди сотрудников_НЕ ДЕЛАЙ САМ! ОСТАНОВИ ДРУГА!\Картинки по электробезопасности для детишек\Боты 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8526" y="4253767"/>
            <a:ext cx="2602830" cy="26042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3254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sz="2300" dirty="0" smtClean="0"/>
              <a:t>Спасибо за внимание !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28758" y="1372740"/>
            <a:ext cx="267316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altLang="ru-RU" sz="2000" dirty="0">
                <a:solidFill>
                  <a:srgbClr val="003399"/>
                </a:solidFill>
              </a:rPr>
              <a:t>Уважаемые ребята!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03655" y="2100890"/>
            <a:ext cx="8029649" cy="2204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Электроэнергия - наш незаменимый помощник. </a:t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/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Но для  тех, кто не знает или пренебрегает правилами электробезопасности, не умеет обращаться с бытовыми приборами, нарушает правила поведения вблизи </a:t>
            </a:r>
            <a:r>
              <a:rPr kumimoji="0" lang="ru-RU" altLang="zh-CN" sz="1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энергообъектов</a:t>
            </a: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, электроэнергия таит в себе </a:t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смертельную опасность!!!</a:t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</a:br>
            <a:r>
              <a:rPr kumimoji="0" lang="ru-RU" altLang="zh-CN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altLang="zh-CN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ru-RU" altLang="zh-CN" sz="20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3502831" y="4313317"/>
            <a:ext cx="5545137" cy="11509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sz="2000" b="1" dirty="0">
                <a:solidFill>
                  <a:srgbClr val="003399"/>
                </a:solidFill>
                <a:latin typeface="Arial"/>
              </a:rPr>
              <a:t> </a:t>
            </a:r>
            <a:r>
              <a:rPr lang="ru-RU" altLang="ru-RU" sz="2000" b="1" dirty="0">
                <a:solidFill>
                  <a:srgbClr val="003399"/>
                </a:solidFill>
                <a:latin typeface="+mn-lt"/>
              </a:rPr>
              <a:t>Ребята, будьте осторожны! </a:t>
            </a:r>
            <a:br>
              <a:rPr lang="ru-RU" altLang="ru-RU" sz="2000" b="1" dirty="0">
                <a:solidFill>
                  <a:srgbClr val="003399"/>
                </a:solidFill>
                <a:latin typeface="+mn-lt"/>
              </a:rPr>
            </a:br>
            <a:r>
              <a:rPr lang="ru-RU" altLang="ru-RU" sz="2000" b="1" dirty="0">
                <a:solidFill>
                  <a:srgbClr val="003399"/>
                </a:solidFill>
                <a:latin typeface="+mn-lt"/>
              </a:rPr>
              <a:t>Берегите свою жизнь и жизнь своих друзей!</a:t>
            </a:r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64921" y="3918497"/>
            <a:ext cx="2763837" cy="2447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50000">
                      <a:srgbClr val="66CCFF"/>
                    </a:gs>
                    <a:gs pos="100000">
                      <a:schemeClr val="bg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rgbClr val="003399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97558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>
                <a:cs typeface="Arial" charset="0"/>
              </a:rPr>
              <a:t>Как в наш дом приходит электричество</a:t>
            </a:r>
            <a:r>
              <a:rPr lang="ru-RU" altLang="ru-RU" sz="2300" b="1" dirty="0" smtClean="0">
                <a:cs typeface="Arial" charset="0"/>
              </a:rPr>
              <a:t>?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5" name="Содержимое 6" descr="Линии электропередачи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892615" y="927847"/>
            <a:ext cx="4598276" cy="4928091"/>
          </a:xfrm>
          <a:prstGeom prst="rect">
            <a:avLst/>
          </a:prstGeom>
        </p:spPr>
      </p:pic>
      <p:sp>
        <p:nvSpPr>
          <p:cNvPr id="7" name="TextBox 2"/>
          <p:cNvSpPr txBox="1">
            <a:spLocks noChangeArrowheads="1"/>
          </p:cNvSpPr>
          <p:nvPr/>
        </p:nvSpPr>
        <p:spPr bwMode="auto">
          <a:xfrm>
            <a:off x="273269" y="1763160"/>
            <a:ext cx="4393324" cy="2585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8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генератора электричество передается по специальным линиям электропередачи. </a:t>
            </a: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 b="1" baseline="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endParaRPr lang="ru-RU" altLang="ru-RU" sz="1800" b="1" baseline="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spcBef>
                <a:spcPct val="0"/>
              </a:spcBef>
              <a:buFontTx/>
              <a:buNone/>
            </a:pPr>
            <a:r>
              <a:rPr lang="ru-RU" altLang="ru-RU" sz="18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 высоким столбам – опорам прикреплены провода, по которым ток течет под очень большим напряжением. </a:t>
            </a:r>
          </a:p>
        </p:txBody>
      </p:sp>
    </p:spTree>
    <p:extLst>
      <p:ext uri="{BB962C8B-B14F-4D97-AF65-F5344CB8AC3E}">
        <p14:creationId xmlns:p14="http://schemas.microsoft.com/office/powerpoint/2010/main" val="3650983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>
                <a:cs typeface="Arial" charset="0"/>
              </a:rPr>
              <a:t>Как в наш дом приходит электричество?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6" name="Picture 5" descr="\\Mrsk-dfs\дсми\Внутренние\Фото департамента\2012 год\12 10 03 Пуск ПС Краснопольская\ПС Краснопольская 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48"/>
          <a:stretch>
            <a:fillRect/>
          </a:stretch>
        </p:blipFill>
        <p:spPr bwMode="auto">
          <a:xfrm>
            <a:off x="975580" y="1444193"/>
            <a:ext cx="7408862" cy="436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4"/>
          <p:cNvSpPr txBox="1">
            <a:spLocks noChangeArrowheads="1"/>
          </p:cNvSpPr>
          <p:nvPr/>
        </p:nvSpPr>
        <p:spPr bwMode="auto">
          <a:xfrm>
            <a:off x="355005" y="855743"/>
            <a:ext cx="86500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baseline="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гда электричество приходит в город, оно попадает на  подстанцию. </a:t>
            </a:r>
            <a:endParaRPr lang="ru-RU" altLang="ru-RU" sz="1800" baseline="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70766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b="1" dirty="0"/>
              <a:t>Как в наш дом приходит электричество</a:t>
            </a:r>
            <a:r>
              <a:rPr lang="ru-RU" altLang="ru-RU" sz="2300" b="1" dirty="0" smtClean="0"/>
              <a:t>?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0" y="743181"/>
            <a:ext cx="96484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zh-CN" sz="1800" b="1" dirty="0" smtClean="0">
                <a:solidFill>
                  <a:srgbClr val="003399"/>
                </a:solidFill>
              </a:rPr>
              <a:t>Напряжение </a:t>
            </a:r>
            <a:r>
              <a:rPr lang="ru-RU" altLang="zh-CN" sz="1800" b="1" dirty="0">
                <a:solidFill>
                  <a:srgbClr val="003399"/>
                </a:solidFill>
              </a:rPr>
              <a:t>понижается с помощью специальной машины – трансформатора</a:t>
            </a:r>
            <a:endParaRPr lang="ru-RU" sz="1800" dirty="0"/>
          </a:p>
        </p:txBody>
      </p:sp>
      <p:pic>
        <p:nvPicPr>
          <p:cNvPr id="7" name="Содержимое 8" descr="Трансформатор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606619" y="1701288"/>
            <a:ext cx="6973467" cy="4636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08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ru-RU" altLang="ru-RU" b="1" dirty="0"/>
              <a:t>Как в наш дом приходит электричество?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91050" y="408358"/>
            <a:ext cx="3344188" cy="56477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zh-CN" sz="1900" b="1" dirty="0">
                <a:solidFill>
                  <a:srgbClr val="003399"/>
                </a:solidFill>
              </a:rPr>
              <a:t>Дальше электрический ток идет по кабелям под землей или по воздушной                                   линии над землей. </a:t>
            </a:r>
            <a:endParaRPr lang="ru-RU" altLang="zh-CN" sz="1900" b="1" dirty="0" smtClean="0">
              <a:solidFill>
                <a:srgbClr val="003399"/>
              </a:solidFill>
            </a:endParaRPr>
          </a:p>
          <a:p>
            <a:pPr algn="just"/>
            <a:endParaRPr lang="ru-RU" altLang="zh-CN" sz="1900" dirty="0">
              <a:solidFill>
                <a:srgbClr val="003399"/>
              </a:solidFill>
            </a:endParaRPr>
          </a:p>
          <a:p>
            <a:pPr algn="just"/>
            <a:r>
              <a:rPr lang="ru-RU" altLang="zh-CN" sz="1900" b="1" dirty="0" smtClean="0">
                <a:solidFill>
                  <a:srgbClr val="003399"/>
                </a:solidFill>
              </a:rPr>
              <a:t>По </a:t>
            </a:r>
            <a:r>
              <a:rPr lang="ru-RU" altLang="zh-CN" sz="1900" b="1" dirty="0">
                <a:solidFill>
                  <a:srgbClr val="003399"/>
                </a:solidFill>
              </a:rPr>
              <a:t>этим проводам электричество </a:t>
            </a:r>
            <a:r>
              <a:rPr lang="ru-RU" altLang="zh-CN" sz="1900" b="1" dirty="0" smtClean="0">
                <a:solidFill>
                  <a:srgbClr val="003399"/>
                </a:solidFill>
              </a:rPr>
              <a:t>подходит к </a:t>
            </a:r>
            <a:r>
              <a:rPr lang="ru-RU" altLang="zh-CN" sz="1900" b="1" dirty="0">
                <a:solidFill>
                  <a:srgbClr val="003399"/>
                </a:solidFill>
              </a:rPr>
              <a:t>дому и попадает в трансформаторную подстанцию, где напряжение понижается еще раз</a:t>
            </a:r>
            <a:r>
              <a:rPr lang="ru-RU" altLang="zh-CN" sz="1900" b="1" dirty="0" smtClean="0">
                <a:solidFill>
                  <a:srgbClr val="003399"/>
                </a:solidFill>
              </a:rPr>
              <a:t>.</a:t>
            </a:r>
          </a:p>
          <a:p>
            <a:pPr algn="just"/>
            <a:endParaRPr lang="ru-RU" altLang="zh-CN" sz="1900" b="1" dirty="0" smtClean="0">
              <a:solidFill>
                <a:srgbClr val="003399"/>
              </a:solidFill>
            </a:endParaRPr>
          </a:p>
          <a:p>
            <a:pPr algn="just"/>
            <a:r>
              <a:rPr lang="ru-RU" altLang="zh-CN" sz="1900" b="1" dirty="0" smtClean="0">
                <a:solidFill>
                  <a:srgbClr val="003399"/>
                </a:solidFill>
              </a:rPr>
              <a:t>Только </a:t>
            </a:r>
            <a:r>
              <a:rPr lang="ru-RU" altLang="zh-CN" sz="1900" b="1" dirty="0">
                <a:solidFill>
                  <a:srgbClr val="003399"/>
                </a:solidFill>
              </a:rPr>
              <a:t>после этого электричество можно использовать </a:t>
            </a:r>
            <a:r>
              <a:rPr lang="ru-RU" altLang="zh-CN" sz="1900" b="1" dirty="0" smtClean="0">
                <a:solidFill>
                  <a:srgbClr val="003399"/>
                </a:solidFill>
              </a:rPr>
              <a:t>в </a:t>
            </a:r>
            <a:r>
              <a:rPr lang="ru-RU" altLang="zh-CN" sz="1900" b="1" dirty="0">
                <a:solidFill>
                  <a:srgbClr val="003399"/>
                </a:solidFill>
              </a:rPr>
              <a:t>различных бытовых электроприборах у нас дома.</a:t>
            </a:r>
            <a:endParaRPr lang="ru-RU" sz="1900" dirty="0"/>
          </a:p>
        </p:txBody>
      </p:sp>
      <p:pic>
        <p:nvPicPr>
          <p:cNvPr id="6" name="Picture 6" descr="\\Mrsk-dfs\дсми\Обмен\Акция среди сотрудников_НЕ ДЕЛАЙ САМ! ОСТАНОВИ ДРУГА!\Презентационный материал для дошкольников\Трансформаторная подстанция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373" y="927848"/>
            <a:ext cx="5687630" cy="4455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00364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72343" y="1041542"/>
            <a:ext cx="8064698" cy="5706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altLang="ru-RU" sz="2000" b="1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auto">
          <a:xfrm>
            <a:off x="4772858" y="3267826"/>
            <a:ext cx="1812453" cy="2196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algn="just">
              <a:defRPr/>
            </a:pPr>
            <a:endParaRPr lang="ru-RU" altLang="zh-CN" sz="2000" b="1" dirty="0" smtClean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defRPr/>
            </a:pPr>
            <a:r>
              <a:rPr lang="ru-RU" altLang="zh-CN" sz="2000" b="1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О играть под линиями электропередачи!</a:t>
            </a:r>
          </a:p>
          <a:p>
            <a:pPr algn="just">
              <a:defRPr/>
            </a:pPr>
            <a:endParaRPr lang="ru-RU" altLang="zh-CN" sz="2000" b="1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36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820" y="927847"/>
            <a:ext cx="4561490" cy="500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67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859" y="2754485"/>
            <a:ext cx="3114675" cy="3438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4772858" y="1236294"/>
            <a:ext cx="362490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zh-CN" sz="20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О </a:t>
            </a:r>
            <a:r>
              <a:rPr lang="ru-RU" altLang="zh-CN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ать под проводами л</a:t>
            </a:r>
            <a:r>
              <a:rPr lang="ru-RU" altLang="zh-CN" sz="2000" dirty="0" smtClean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ий электропередачи </a:t>
            </a:r>
            <a:r>
              <a:rPr lang="ru-RU" altLang="zh-CN" sz="2000" dirty="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душных змеев!</a:t>
            </a:r>
          </a:p>
        </p:txBody>
      </p:sp>
    </p:spTree>
    <p:extLst>
      <p:ext uri="{BB962C8B-B14F-4D97-AF65-F5344CB8AC3E}">
        <p14:creationId xmlns:p14="http://schemas.microsoft.com/office/powerpoint/2010/main" val="17273079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4294967295"/>
          </p:nvPr>
        </p:nvSpPr>
        <p:spPr>
          <a:xfrm>
            <a:off x="5896303" y="2869324"/>
            <a:ext cx="3053256" cy="1231106"/>
          </a:xfrm>
          <a:prstGeom prst="rect">
            <a:avLst/>
          </a:prstGeom>
        </p:spPr>
        <p:txBody>
          <a:bodyPr/>
          <a:lstStyle/>
          <a:p>
            <a:r>
              <a:rPr lang="ru-RU" sz="2000" dirty="0" smtClean="0"/>
              <a:t>Стой! Не придумывай как достать или проникнуть. Позови взрослых.</a:t>
            </a:r>
            <a:endParaRPr lang="ru-RU" sz="2000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45" y="1083431"/>
            <a:ext cx="4809814" cy="5416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1810329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 idx="4294967295"/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ru-RU" altLang="ru-RU" sz="2300" dirty="0">
                <a:latin typeface="Arial" panose="020B0604020202020204" pitchFamily="34" charset="0"/>
                <a:cs typeface="Arial" panose="020B0604020202020204" pitchFamily="34" charset="0"/>
              </a:rPr>
              <a:t>Правила обращения с электричеством на </a:t>
            </a:r>
            <a:r>
              <a:rPr lang="ru-RU" altLang="ru-RU" sz="2300" dirty="0" smtClean="0">
                <a:latin typeface="Arial" panose="020B0604020202020204" pitchFamily="34" charset="0"/>
                <a:cs typeface="Arial" panose="020B0604020202020204" pitchFamily="34" charset="0"/>
              </a:rPr>
              <a:t>улице</a:t>
            </a:r>
            <a:endParaRPr lang="ru-RU" sz="23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89671" y="6571686"/>
            <a:ext cx="316337" cy="286314"/>
          </a:xfrm>
        </p:spPr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5412828" y="2597180"/>
            <a:ext cx="3831458" cy="21932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ПАСНО влезать на крыши домов и строений, где поблизости проходят электрические провода!</a:t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endParaRPr kumimoji="0" lang="ru-RU" altLang="zh-CN" sz="1900" b="1" i="0" u="none" strike="noStrike" kern="1200" cap="none" spc="0" normalizeH="0" baseline="0" noProof="0" dirty="0" smtClean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льзя использовать палку для </a:t>
            </a:r>
            <a:r>
              <a:rPr kumimoji="0" lang="ru-RU" altLang="zh-CN" sz="1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елфи</a:t>
            </a: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рядом с электрооборудованием и линиями электропередач</a:t>
            </a:r>
            <a: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</a:rPr>
              <a:t>.</a:t>
            </a:r>
            <a:br>
              <a:rPr kumimoji="0" lang="ru-RU" altLang="zh-CN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+mn-lt"/>
              </a:rPr>
            </a:br>
            <a:endParaRPr kumimoji="0" lang="ru-RU" altLang="zh-CN" sz="1900" b="1" i="0" u="none" strike="noStrike" kern="120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5836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858" y="1332823"/>
            <a:ext cx="5126970" cy="51080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624026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0</TotalTime>
  <Words>517</Words>
  <Application>Microsoft Office PowerPoint</Application>
  <PresentationFormat>Лист A4 (210x297 мм)</PresentationFormat>
  <Paragraphs>104</Paragraphs>
  <Slides>2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7" baseType="lpstr">
      <vt:lpstr>黑体</vt:lpstr>
      <vt:lpstr>Arial</vt:lpstr>
      <vt:lpstr>Arial Narrow</vt:lpstr>
      <vt:lpstr>Calibri</vt:lpstr>
      <vt:lpstr>Шаблон ФСК февраль 2014 с линиями</vt:lpstr>
      <vt:lpstr>think-cell Slide</vt:lpstr>
      <vt:lpstr>Сети ВЫСОКОГО НАПРЯЖЕНИЯ.  Основы электробезопасности  (информация для учеников школ)</vt:lpstr>
      <vt:lpstr>Как в наш дом приходит электричество?</vt:lpstr>
      <vt:lpstr>Как в наш дом приходит электричество?</vt:lpstr>
      <vt:lpstr>Как в наш дом приходит электричество?</vt:lpstr>
      <vt:lpstr>Как в наш дом приходит электричество?</vt:lpstr>
      <vt:lpstr>Как в наш дом приходит электричество?</vt:lpstr>
      <vt:lpstr>Правила обращения с электричеством на улице</vt:lpstr>
      <vt:lpstr>Правила обращения с электричеством на улице</vt:lpstr>
      <vt:lpstr>Правила обращения с электричеством на улице</vt:lpstr>
      <vt:lpstr>Правила обращения с электричеством на улице</vt:lpstr>
      <vt:lpstr>Правила обращения с электричеством на улице</vt:lpstr>
      <vt:lpstr>Правила обращения с электричеством на улице</vt:lpstr>
      <vt:lpstr>Правила обращения с электричеством на улице</vt:lpstr>
      <vt:lpstr>Магистральные сети  ВЫСОКОГО НАПРЯЖЕНИЯ -  это смертельно опасно!</vt:lpstr>
      <vt:lpstr>Для предупреждения людей об опасности на наружных частях электроустановок укрепляются следующие предостерегающие плакаты</vt:lpstr>
      <vt:lpstr>Правила поведения по время грозы</vt:lpstr>
      <vt:lpstr>Электроприборы </vt:lpstr>
      <vt:lpstr>Правила поведения с электричеством в быту</vt:lpstr>
      <vt:lpstr>Как пользоваться электроприборами</vt:lpstr>
      <vt:lpstr>Энергетик</vt:lpstr>
      <vt:lpstr>Спасибо за внимание 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Шаблон ФСК 2014</dc:title>
  <dc:creator/>
  <cp:lastModifiedBy/>
  <cp:revision>1</cp:revision>
  <dcterms:created xsi:type="dcterms:W3CDTF">2014-02-13T06:18:42Z</dcterms:created>
  <dcterms:modified xsi:type="dcterms:W3CDTF">2023-04-25T13:13:21Z</dcterms:modified>
</cp:coreProperties>
</file>